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8" r:id="rId7"/>
  </p:sldIdLst>
  <p:sldSz cx="12192000" cy="6858000"/>
  <p:notesSz cx="7104063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EB0000"/>
    <a:srgbClr val="727272"/>
    <a:srgbClr val="BDBDBD"/>
    <a:srgbClr val="E5E5E5"/>
    <a:srgbClr val="D9D9D9"/>
    <a:srgbClr val="C60018"/>
    <a:srgbClr val="A20013"/>
    <a:srgbClr val="A8A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2:52.946" v="28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22:52.946" v="28" actId="27918"/>
        <pc:sldMkLst>
          <pc:docMk/>
          <pc:sldMk cId="2131180641" sldId="398"/>
        </pc:sldMkLst>
        <pc:spChg chg="mod">
          <ac:chgData name="Weigel Stefan (PAR-EPS)" userId="fd3b2067-2981-4ad8-bf3a-d2e1004e4fa8" providerId="ADAL" clId="{A4CFA2F4-FF8D-446B-B271-6DF568DBEADA}" dt="2026-01-14T13:59:42.034" v="1" actId="20577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14T14:00:48.823" v="24" actId="20577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A4CFA2F4-FF8D-446B-B271-6DF568DBEADA}" dt="2026-01-14T14:04:48.427" v="25" actId="207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900244384711989"/>
          <c:y val="8.9015694025901065E-2"/>
          <c:w val="0.76219289846778104"/>
          <c:h val="0.7558312001123315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H$2</c:f>
              <c:strCache>
                <c:ptCount val="1"/>
                <c:pt idx="0">
                  <c:v>Switzerland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C15-44C7-B782-A061291EEFA2}"/>
              </c:ext>
            </c:extLst>
          </c:dPt>
          <c:cat>
            <c:strRef>
              <c:f>data!$G$3:$G$10</c:f>
              <c:strCache>
                <c:ptCount val="8"/>
                <c:pt idx="0">
                  <c:v>Energy and energy installations</c:v>
                </c:pt>
                <c:pt idx="1">
                  <c:v>Not classified</c:v>
                </c:pt>
                <c:pt idx="2">
                  <c:v>Structural engineering</c:v>
                </c:pt>
                <c:pt idx="3">
                  <c:v>ICT &amp; material</c:v>
                </c:pt>
                <c:pt idx="4">
                  <c:v>Installations</c:v>
                </c:pt>
                <c:pt idx="5">
                  <c:v>Vehicles</c:v>
                </c:pt>
                <c:pt idx="6">
                  <c:v>Services</c:v>
                </c:pt>
                <c:pt idx="7">
                  <c:v>Civil engineering</c:v>
                </c:pt>
              </c:strCache>
            </c:strRef>
          </c:cat>
          <c:val>
            <c:numRef>
              <c:f>data!$H$3:$H$10</c:f>
              <c:numCache>
                <c:formatCode>#,##0.00</c:formatCode>
                <c:ptCount val="8"/>
                <c:pt idx="0">
                  <c:v>9.0497456700000006E-2</c:v>
                </c:pt>
                <c:pt idx="1">
                  <c:v>0.37461022549999901</c:v>
                </c:pt>
                <c:pt idx="2">
                  <c:v>0.48355628087999997</c:v>
                </c:pt>
                <c:pt idx="3">
                  <c:v>0.58181611321000004</c:v>
                </c:pt>
                <c:pt idx="4">
                  <c:v>0.73910824021999899</c:v>
                </c:pt>
                <c:pt idx="5">
                  <c:v>0.79013826178000002</c:v>
                </c:pt>
                <c:pt idx="6">
                  <c:v>1.0682132013700001</c:v>
                </c:pt>
                <c:pt idx="7">
                  <c:v>1.55570201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15-44C7-B782-A061291EEFA2}"/>
            </c:ext>
          </c:extLst>
        </c:ser>
        <c:ser>
          <c:idx val="1"/>
          <c:order val="1"/>
          <c:tx>
            <c:strRef>
              <c:f>data!$I$2</c:f>
              <c:strCache>
                <c:ptCount val="1"/>
                <c:pt idx="0">
                  <c:v>Other countries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noFill/>
            </a:ln>
          </c:spPr>
          <c:invertIfNegative val="0"/>
          <c:cat>
            <c:strRef>
              <c:f>data!$G$3:$G$10</c:f>
              <c:strCache>
                <c:ptCount val="8"/>
                <c:pt idx="0">
                  <c:v>Energy and energy installations</c:v>
                </c:pt>
                <c:pt idx="1">
                  <c:v>Not classified</c:v>
                </c:pt>
                <c:pt idx="2">
                  <c:v>Structural engineering</c:v>
                </c:pt>
                <c:pt idx="3">
                  <c:v>ICT &amp; material</c:v>
                </c:pt>
                <c:pt idx="4">
                  <c:v>Installations</c:v>
                </c:pt>
                <c:pt idx="5">
                  <c:v>Vehicles</c:v>
                </c:pt>
                <c:pt idx="6">
                  <c:v>Services</c:v>
                </c:pt>
                <c:pt idx="7">
                  <c:v>Civil engineering</c:v>
                </c:pt>
              </c:strCache>
            </c:strRef>
          </c:cat>
          <c:val>
            <c:numRef>
              <c:f>data!$I$3:$I$10</c:f>
              <c:numCache>
                <c:formatCode>#,##0.00</c:formatCode>
                <c:ptCount val="8"/>
                <c:pt idx="0">
                  <c:v>1.2735279280000001E-2</c:v>
                </c:pt>
                <c:pt idx="1">
                  <c:v>2.2372274720000002E-2</c:v>
                </c:pt>
                <c:pt idx="2">
                  <c:v>1.21539961E-3</c:v>
                </c:pt>
                <c:pt idx="3">
                  <c:v>7.6366637209999991E-2</c:v>
                </c:pt>
                <c:pt idx="4">
                  <c:v>0.21131391513</c:v>
                </c:pt>
                <c:pt idx="5">
                  <c:v>0.18640991085</c:v>
                </c:pt>
                <c:pt idx="6">
                  <c:v>9.8588534929999999E-2</c:v>
                </c:pt>
                <c:pt idx="7">
                  <c:v>9.1798651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15-44C7-B782-A061291EE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4205696"/>
        <c:axId val="124203776"/>
      </c:barChart>
      <c:valAx>
        <c:axId val="124203776"/>
        <c:scaling>
          <c:orientation val="minMax"/>
          <c:max val="2"/>
          <c:min val="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4205696"/>
        <c:crosses val="autoZero"/>
        <c:crossBetween val="between"/>
        <c:majorUnit val="0.5"/>
      </c:valAx>
      <c:catAx>
        <c:axId val="124205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 rot="0" vert="horz" anchor="ctr" anchorCtr="1"/>
          <a:lstStyle/>
          <a:p>
            <a:pPr algn="just"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4203776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28147032258239507"/>
          <c:y val="0.91024550943477744"/>
          <c:w val="0.28898822757751641"/>
          <c:h val="4.527978894363850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1211</cdr:x>
      <cdr:y>0.01365</cdr:y>
    </cdr:from>
    <cdr:to>
      <cdr:x>0.99061</cdr:x>
      <cdr:y>0.06592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406941" y="63181"/>
          <a:ext cx="723536" cy="2419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CHF </a:t>
          </a:r>
          <a:r>
            <a:rPr lang="de-CH" sz="1100" dirty="0" err="1"/>
            <a:t>billion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998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en-US" dirty="0"/>
              <a:t>SBB as a purchaser in 2025</a:t>
            </a:r>
            <a:r>
              <a:rPr lang="de-CH" dirty="0"/>
              <a:t>.</a:t>
            </a:r>
            <a:br>
              <a:rPr lang="de-CH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973129B-3766-41C3-BD0F-FBF7F523AB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7166921"/>
              </p:ext>
            </p:extLst>
          </p:nvPr>
        </p:nvGraphicFramePr>
        <p:xfrm>
          <a:off x="1487488" y="1247776"/>
          <a:ext cx="9217025" cy="462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US" sz="1100" dirty="0">
                <a:solidFill>
                  <a:schemeClr val="tx2"/>
                </a:solidFill>
                <a:latin typeface="+mj-lt"/>
                <a:cs typeface="Arial" pitchFamily="34" charset="0"/>
              </a:rPr>
              <a:t>Purchasing volume for 2025: CHF 6.38 billion in total, of which 89% was assigned to suppliers in Switzerland. </a:t>
            </a:r>
            <a:r>
              <a:rPr lang="en-US" sz="1100">
                <a:solidFill>
                  <a:schemeClr val="tx2"/>
                </a:solidFill>
                <a:latin typeface="+mj-lt"/>
                <a:cs typeface="Arial" pitchFamily="34" charset="0"/>
              </a:rPr>
              <a:t>14,627 </a:t>
            </a:r>
            <a:r>
              <a:rPr lang="en-US" sz="1100" dirty="0">
                <a:solidFill>
                  <a:schemeClr val="tx2"/>
                </a:solidFill>
                <a:latin typeface="+mj-lt"/>
                <a:cs typeface="Arial" pitchFamily="34" charset="0"/>
              </a:rPr>
              <a:t>suppliers, of </a:t>
            </a:r>
            <a:r>
              <a:rPr lang="en-US" sz="1100">
                <a:solidFill>
                  <a:schemeClr val="tx2"/>
                </a:solidFill>
                <a:latin typeface="+mj-lt"/>
                <a:cs typeface="Arial" pitchFamily="34" charset="0"/>
              </a:rPr>
              <a:t>which 91% </a:t>
            </a:r>
            <a:r>
              <a:rPr lang="en-US" sz="1100" dirty="0">
                <a:solidFill>
                  <a:schemeClr val="tx2"/>
                </a:solidFill>
                <a:latin typeface="+mj-lt"/>
                <a:cs typeface="Arial" pitchFamily="34" charset="0"/>
              </a:rPr>
              <a:t>in Switzerland. (Only includes billers with a purchasing volume of more than CHF 2,000.)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CE2534E-B1A7-A9E6-615D-864B28F50FD4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180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9BD1D2B-0A2C-4107-9890-A341162310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BB as a purchaser in 2025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B as a purchaser in 2024._x000b_</dc:title>
  <dc:creator>Meyer Raphael (KOM-PGA-VSF)</dc:creator>
  <cp:lastModifiedBy>Weigel Stefan (PAR-EPS)</cp:lastModifiedBy>
  <cp:revision>58</cp:revision>
  <cp:lastPrinted>2023-01-30T17:27:01Z</cp:lastPrinted>
  <dcterms:created xsi:type="dcterms:W3CDTF">2020-09-30T11:00:09Z</dcterms:created>
  <dcterms:modified xsi:type="dcterms:W3CDTF">2026-03-03T13:14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